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8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" Type="http://schemas.openxmlformats.org/officeDocument/2006/relationships/tags" Target="../tags/tag9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jpe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svg"/><Relationship Id="rId10" Type="http://schemas.openxmlformats.org/officeDocument/2006/relationships/image" Target="../media/image24.svg"/><Relationship Id="rId19" Type="http://schemas.openxmlformats.org/officeDocument/2006/relationships/image" Target="../media/image33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aroline </a:t>
            </a:r>
            <a:r>
              <a:rPr lang="en-US" dirty="0" err="1"/>
              <a:t>Trimborn</a:t>
            </a:r>
            <a:r>
              <a:rPr lang="en-US" dirty="0"/>
              <a:t>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401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 year with German Development Cooperation, GIZ (Abuja, Nigeria) </a:t>
            </a:r>
            <a:r>
              <a:rPr lang="en-US" sz="1200" dirty="0"/>
              <a:t>as Project Coordinator. Coordinated two agricultural value chain (VC) promotion and finance </a:t>
            </a:r>
            <a:r>
              <a:rPr lang="en-US" sz="1200" dirty="0" err="1"/>
              <a:t>programmes</a:t>
            </a:r>
            <a:r>
              <a:rPr lang="en-US" sz="1200" dirty="0"/>
              <a:t> (total budget of €20.5 million/£18.4 Million) in Nigeria, combining an innovation system and VC approach to increase productivity and income of 200,000 farmers, and turn-over and employment in 100+ growth-oriented </a:t>
            </a:r>
            <a:r>
              <a:rPr lang="en-US" sz="1200" dirty="0" err="1"/>
              <a:t>agro</a:t>
            </a:r>
            <a:r>
              <a:rPr lang="en-US" sz="1200" dirty="0"/>
              <a:t>-processing enterprises in four VCs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verall project management and HR responsibility for the 15-person GIZ team and coordination of consulting component (35-person). Through the introduction of agile project teams mid-term evaluation targets were exceeded (9 out of 11 output indicators were met to at least 75%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Led inception phase of a new agricultural finance </a:t>
            </a:r>
            <a:r>
              <a:rPr lang="en-US" sz="1200" dirty="0" err="1"/>
              <a:t>programme</a:t>
            </a:r>
            <a:r>
              <a:rPr lang="en-US" sz="1200" dirty="0"/>
              <a:t> in accordance with GIZ quality standards. Contracting and strategic guidance of the consulting component (5 intern-/national long-term experts). Coordinated business model analysis in 5 VCs. Quantification of investment opportunities resulted in EOI to enter partnerships by five financial institution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3 years with German Development Cooperation, GIZ (Abuja, Nigeria) </a:t>
            </a:r>
            <a:r>
              <a:rPr lang="en-US" sz="1200" dirty="0"/>
              <a:t>as a Technical Advisor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Technical: Design and on-going management of VC promotion activitie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olicy &amp; Strategy: Design and implementation of steering structure for effective collaboration with political counterparts across 8 states, chaired by the Federal Ministry for Agriculture and Rural Development (FMARD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1082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Caroline is an experienced professional with proven management and leadership capabilities and a track record of achievement across agribusiness, agricultural finance, and rural job creation in West Africa. Offering knowledge in </a:t>
            </a:r>
            <a:r>
              <a:rPr lang="en-US" sz="1200" dirty="0" err="1"/>
              <a:t>analysing</a:t>
            </a:r>
            <a:r>
              <a:rPr lang="en-US" sz="1200" dirty="0"/>
              <a:t> value chains, creating market linkages and supporting capacity development across public and private sectors. 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4" name="Rectangle: Single Corner Rounded 23">
            <a:extLst>
              <a:ext uri="{FF2B5EF4-FFF2-40B4-BE49-F238E27FC236}">
                <a16:creationId xmlns:a16="http://schemas.microsoft.com/office/drawing/2014/main" id="{DFD52AF2-7763-4338-8259-FD497A9C03EB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9D780D79-A984-44CD-8065-BA1B784F16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0FE54AB-2F2E-4906-B434-D1C02AE9F75D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A8EB10B8-06CD-1340-9AB6-8EB2383C369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1"/>
          <a:srcRect/>
          <a:stretch>
            <a:fillRect/>
          </a:stretch>
        </p:blipFill>
        <p:spPr/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FB2A7381-672A-2D42-A21B-1373F2A62E9D}"/>
              </a:ext>
            </a:extLst>
          </p:cNvPr>
          <p:cNvSpPr txBox="1"/>
          <p:nvPr/>
        </p:nvSpPr>
        <p:spPr>
          <a:xfrm>
            <a:off x="7945692" y="1398250"/>
            <a:ext cx="3590369" cy="21082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Management: Direct day-to-day support to Project Coordinator on strategy, implementation, HR management, budgeting and forecasting, annual reporting, communications, and M&amp;E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2 years with German Agency for Civic Education (Accra, Ghana) </a:t>
            </a:r>
            <a:r>
              <a:rPr lang="en-US" sz="1200" dirty="0"/>
              <a:t>as a Project Coordinator. Managed German-African social leadership training </a:t>
            </a:r>
            <a:r>
              <a:rPr lang="en-US" sz="1200" dirty="0" err="1"/>
              <a:t>programme</a:t>
            </a:r>
            <a:r>
              <a:rPr lang="en-US" sz="1200" dirty="0"/>
              <a:t> under the patronage of the German Federal President using ‘situated learning’ approach across Ghana with a track record of scholarship holders taking up high-level social leadership positions in Europe and Afric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3A8719-53A0-6D48-993E-BE60C92A7F1F}"/>
              </a:ext>
            </a:extLst>
          </p:cNvPr>
          <p:cNvSpPr txBox="1"/>
          <p:nvPr/>
        </p:nvSpPr>
        <p:spPr>
          <a:xfrm>
            <a:off x="7945692" y="4025280"/>
            <a:ext cx="3590369" cy="1000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Caroline holds an </a:t>
            </a:r>
            <a:r>
              <a:rPr lang="en-US" sz="1200" dirty="0">
                <a:solidFill>
                  <a:srgbClr val="FF0000"/>
                </a:solidFill>
              </a:rPr>
              <a:t>MSc African Development </a:t>
            </a:r>
            <a:r>
              <a:rPr lang="en-US" sz="1200" dirty="0"/>
              <a:t>from the London School of Economics, LSE and an </a:t>
            </a:r>
            <a:r>
              <a:rPr lang="en-US" sz="1200" dirty="0">
                <a:solidFill>
                  <a:srgbClr val="FF0000"/>
                </a:solidFill>
              </a:rPr>
              <a:t>MA in African Studies </a:t>
            </a:r>
            <a:r>
              <a:rPr lang="en-US" sz="1200" dirty="0"/>
              <a:t>from </a:t>
            </a:r>
            <a:r>
              <a:rPr lang="en-US" sz="1200" dirty="0">
                <a:solidFill>
                  <a:prstClr val="black"/>
                </a:solidFill>
              </a:rPr>
              <a:t>Humboldt University of Berlin</a:t>
            </a:r>
            <a:endParaRPr lang="en-US" sz="1200" dirty="0"/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olds a </a:t>
            </a:r>
            <a:r>
              <a:rPr lang="en-US" sz="1200" dirty="0">
                <a:solidFill>
                  <a:srgbClr val="FF0000"/>
                </a:solidFill>
              </a:rPr>
              <a:t>BA in Literary, Cultural, Social Science </a:t>
            </a:r>
            <a:r>
              <a:rPr lang="en-US" sz="1200" dirty="0"/>
              <a:t>from </a:t>
            </a:r>
            <a:r>
              <a:rPr lang="en-US" sz="1200" dirty="0">
                <a:solidFill>
                  <a:prstClr val="black"/>
                </a:solidFill>
              </a:rPr>
              <a:t>University of Siegen</a:t>
            </a:r>
          </a:p>
        </p:txBody>
      </p:sp>
      <p:sp>
        <p:nvSpPr>
          <p:cNvPr id="46" name="Rectangle: Single Corner Rounded 52">
            <a:extLst>
              <a:ext uri="{FF2B5EF4-FFF2-40B4-BE49-F238E27FC236}">
                <a16:creationId xmlns:a16="http://schemas.microsoft.com/office/drawing/2014/main" id="{C5A81E99-0F53-9D4A-99C8-0681380E66ED}"/>
              </a:ext>
            </a:extLst>
          </p:cNvPr>
          <p:cNvSpPr/>
          <p:nvPr/>
        </p:nvSpPr>
        <p:spPr>
          <a:xfrm>
            <a:off x="7840027" y="356230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D9DBF763-D4D1-DE41-96EB-3920819040A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263389" y="3594262"/>
            <a:ext cx="340892" cy="343274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F8D05B67-E0A1-7948-9BD7-F75659F93644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335582" y="3667647"/>
            <a:ext cx="196505" cy="196505"/>
          </a:xfrm>
          <a:prstGeom prst="rect">
            <a:avLst/>
          </a:prstGeom>
        </p:spPr>
      </p:pic>
      <p:sp>
        <p:nvSpPr>
          <p:cNvPr id="50" name="Rectangle: Single Corner Rounded 61">
            <a:extLst>
              <a:ext uri="{FF2B5EF4-FFF2-40B4-BE49-F238E27FC236}">
                <a16:creationId xmlns:a16="http://schemas.microsoft.com/office/drawing/2014/main" id="{E1CB4374-00BA-004F-9FEF-7B8C222DA95C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 </a:t>
            </a:r>
            <a:r>
              <a:rPr lang="en-US" sz="1200" i="1" dirty="0">
                <a:solidFill>
                  <a:srgbClr val="FFFFFF"/>
                </a:solidFill>
                <a:sym typeface="Helvetica Neue Medium"/>
              </a:rPr>
              <a:t>(cont’d)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8A1755-6080-F242-8EC5-CFFE1A30A82B}"/>
              </a:ext>
            </a:extLst>
          </p:cNvPr>
          <p:cNvGrpSpPr/>
          <p:nvPr/>
        </p:nvGrpSpPr>
        <p:grpSpPr>
          <a:xfrm>
            <a:off x="11263389" y="967232"/>
            <a:ext cx="340892" cy="343274"/>
            <a:chOff x="5300658" y="967232"/>
            <a:chExt cx="340892" cy="343274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D84C8688-1C9E-594F-ADD8-CEA8434AC1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300658" y="967232"/>
              <a:ext cx="340892" cy="343274"/>
            </a:xfrm>
            <a:prstGeom prst="rect">
              <a:avLst/>
            </a:prstGeom>
          </p:spPr>
        </p:pic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85741F36-F6A4-DC4F-B40E-58125FC55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59678" y="1030791"/>
              <a:ext cx="216156" cy="216156"/>
            </a:xfrm>
            <a:prstGeom prst="rect">
              <a:avLst/>
            </a:prstGeom>
          </p:spPr>
        </p:pic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577C94A4-7835-DF40-BA89-999FBDF11D73}"/>
              </a:ext>
            </a:extLst>
          </p:cNvPr>
          <p:cNvSpPr/>
          <p:nvPr/>
        </p:nvSpPr>
        <p:spPr>
          <a:xfrm>
            <a:off x="8313464" y="551948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am a motivated expert at managing complex projects in challenging, political sensitive environments and aligning multiple stakeholders behind a shared vision.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D3F93B5-8813-F844-8E6C-CEB0B0673DA5}"/>
              </a:ext>
            </a:extLst>
          </p:cNvPr>
          <p:cNvCxnSpPr>
            <a:cxnSpLocks/>
          </p:cNvCxnSpPr>
          <p:nvPr/>
        </p:nvCxnSpPr>
        <p:spPr>
          <a:xfrm>
            <a:off x="8022331" y="543022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C0511DE-4AF7-F046-AF91-3B3A29DA461D}"/>
              </a:ext>
            </a:extLst>
          </p:cNvPr>
          <p:cNvGrpSpPr/>
          <p:nvPr/>
        </p:nvGrpSpPr>
        <p:grpSpPr>
          <a:xfrm>
            <a:off x="7934306" y="5169843"/>
            <a:ext cx="404525" cy="360027"/>
            <a:chOff x="9621368" y="5838969"/>
            <a:chExt cx="581812" cy="47382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01EF385-BA3E-654F-B7C0-73E88AB75CC3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59" name="Graphic 21">
              <a:extLst>
                <a:ext uri="{FF2B5EF4-FFF2-40B4-BE49-F238E27FC236}">
                  <a16:creationId xmlns:a16="http://schemas.microsoft.com/office/drawing/2014/main" id="{9AF3CD9E-D37E-1346-88E9-72D4CAEE2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721726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451</Words>
  <Application>Microsoft Macintosh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Caroline Trimborn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26:06Z</dcterms:modified>
</cp:coreProperties>
</file>